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37.xml" ContentType="application/vnd.openxmlformats-officedocument.presentationml.tags+xml"/>
  <Override PartName="/ppt/charts/chart8.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39.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40.xml" ContentType="application/vnd.openxmlformats-officedocument.presentationml.tags+xml"/>
  <Override PartName="/ppt/charts/chart11.xml" ContentType="application/vnd.openxmlformats-officedocument.drawingml.chart+xml"/>
  <Override PartName="/ppt/tags/tag41.xml" ContentType="application/vnd.openxmlformats-officedocument.presentationml.tags+xml"/>
  <Override PartName="/ppt/charts/chart12.xml" ContentType="application/vnd.openxmlformats-officedocument.drawingml.chart+xml"/>
  <Override PartName="/ppt/tags/tag42.xml" ContentType="application/vnd.openxmlformats-officedocument.presentationml.tags+xml"/>
  <Override PartName="/ppt/charts/chart13.xml" ContentType="application/vnd.openxmlformats-officedocument.drawingml.chart+xml"/>
  <Override PartName="/ppt/tags/tag43.xml" ContentType="application/vnd.openxmlformats-officedocument.presentationml.tags+xml"/>
  <Override PartName="/ppt/charts/chart14.xml" ContentType="application/vnd.openxmlformats-officedocument.drawingml.chart+xml"/>
  <Override PartName="/ppt/tags/tag44.xml" ContentType="application/vnd.openxmlformats-officedocument.presentationml.tags+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tags/tag45.xml" ContentType="application/vnd.openxmlformats-officedocument.presentationml.tag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46.xml" ContentType="application/vnd.openxmlformats-officedocument.presentationml.tags+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tags/tag47.xml" ContentType="application/vnd.openxmlformats-officedocument.presentationml.tags+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tags/tag48.xml" ContentType="application/vnd.openxmlformats-officedocument.presentationml.tags+xml"/>
  <Override PartName="/ppt/charts/chart26.xml" ContentType="application/vnd.openxmlformats-officedocument.drawingml.chart+xml"/>
  <Override PartName="/ppt/tags/tag49.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50.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51.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53.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4.xml" ContentType="application/vnd.openxmlformats-officedocument.presentationml.tags+xml"/>
  <Override PartName="/ppt/notesSlides/notesSlide8.xml" ContentType="application/vnd.openxmlformats-officedocument.presentationml.notesSlide+xml"/>
  <Override PartName="/ppt/charts/chart47.xml" ContentType="application/vnd.openxmlformats-officedocument.drawingml.chart+xml"/>
  <Override PartName="/ppt/charts/style16.xml" ContentType="application/vnd.ms-office.chartstyle+xml"/>
  <Override PartName="/ppt/charts/colors16.xml" ContentType="application/vnd.ms-office.chartcolorstyle+xml"/>
  <Override PartName="/ppt/tags/tag55.xml" ContentType="application/vnd.openxmlformats-officedocument.presentationml.tags+xml"/>
  <Override PartName="/ppt/notesSlides/notesSlide9.xml" ContentType="application/vnd.openxmlformats-officedocument.presentationml.notesSlide+xml"/>
  <Override PartName="/ppt/charts/chart4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9.xml" ContentType="application/vnd.openxmlformats-officedocument.drawingml.chart+xml"/>
  <Override PartName="/ppt/charts/style18.xml" ContentType="application/vnd.ms-office.chartstyle+xml"/>
  <Override PartName="/ppt/charts/colors18.xml" ContentType="application/vnd.ms-office.chartcolorstyle+xml"/>
  <Override PartName="/ppt/tags/tag56.xml" ContentType="application/vnd.openxmlformats-officedocument.presentationml.tags+xml"/>
  <Override PartName="/ppt/notesSlides/notesSlide10.xml" ContentType="application/vnd.openxmlformats-officedocument.presentationml.notesSlide+xml"/>
  <Override PartName="/ppt/charts/chart5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5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52.xml" ContentType="application/vnd.openxmlformats-officedocument.drawingml.chart+xml"/>
  <Override PartName="/ppt/charts/style21.xml" ContentType="application/vnd.ms-office.chartstyle+xml"/>
  <Override PartName="/ppt/charts/colors21.xml" ContentType="application/vnd.ms-office.chartcolorstyle+xml"/>
  <Override PartName="/ppt/tags/tag57.xml" ContentType="application/vnd.openxmlformats-officedocument.presentationml.tags+xml"/>
  <Override PartName="/ppt/notesSlides/notesSlide11.xml" ContentType="application/vnd.openxmlformats-officedocument.presentationml.notesSlide+xml"/>
  <Override PartName="/ppt/charts/chart5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5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5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56.xml" ContentType="application/vnd.openxmlformats-officedocument.drawingml.chart+xml"/>
  <Override PartName="/ppt/charts/style25.xml" ContentType="application/vnd.ms-office.chartstyle+xml"/>
  <Override PartName="/ppt/charts/colors25.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35"/>
  </p:notesMasterIdLst>
  <p:sldIdLst>
    <p:sldId id="2147329454" r:id="rId5"/>
    <p:sldId id="2147475152" r:id="rId6"/>
    <p:sldId id="2147475178" r:id="rId7"/>
    <p:sldId id="2147473013" r:id="rId8"/>
    <p:sldId id="2147475151" r:id="rId9"/>
    <p:sldId id="2147473025" r:id="rId10"/>
    <p:sldId id="2147473029" r:id="rId11"/>
    <p:sldId id="2147473030" r:id="rId12"/>
    <p:sldId id="2147378510" r:id="rId13"/>
    <p:sldId id="2147378508" r:id="rId14"/>
    <p:sldId id="2147472930" r:id="rId15"/>
    <p:sldId id="2147473037" r:id="rId16"/>
    <p:sldId id="2147378386" r:id="rId17"/>
    <p:sldId id="2147471718" r:id="rId18"/>
    <p:sldId id="2147475156" r:id="rId19"/>
    <p:sldId id="2147378154" r:id="rId20"/>
    <p:sldId id="2147378155" r:id="rId21"/>
    <p:sldId id="2147378156" r:id="rId22"/>
    <p:sldId id="2147378157" r:id="rId23"/>
    <p:sldId id="2147473882" r:id="rId24"/>
    <p:sldId id="2147475174" r:id="rId25"/>
    <p:sldId id="2147475173" r:id="rId26"/>
    <p:sldId id="2147475171" r:id="rId27"/>
    <p:sldId id="2147475170" r:id="rId28"/>
    <p:sldId id="370" r:id="rId29"/>
    <p:sldId id="2147475172" r:id="rId30"/>
    <p:sldId id="2147475182" r:id="rId31"/>
    <p:sldId id="2147475181" r:id="rId32"/>
    <p:sldId id="2147475180" r:id="rId33"/>
    <p:sldId id="2147475179" r:id="rId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91" d="100"/>
          <a:sy n="91" d="100"/>
        </p:scale>
        <p:origin x="810" y="6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DEC2644B-FBB3-4E70-8177-D39ED5E85D5B}"/>
    <pc:docChg chg="custSel modSld delMainMaster">
      <pc:chgData name="Neriman EL HADIDI" userId="4b24840c-84b3-44ac-9131-ca3568cb403b" providerId="ADAL" clId="{DEC2644B-FBB3-4E70-8177-D39ED5E85D5B}" dt="2024-11-01T09:06:09.704" v="16" actId="27918"/>
      <pc:docMkLst>
        <pc:docMk/>
      </pc:docMkLst>
      <pc:sldChg chg="delSp mod">
        <pc:chgData name="Neriman EL HADIDI" userId="4b24840c-84b3-44ac-9131-ca3568cb403b" providerId="ADAL" clId="{DEC2644B-FBB3-4E70-8177-D39ED5E85D5B}" dt="2024-11-01T09:05:30.544" v="12" actId="478"/>
        <pc:sldMkLst>
          <pc:docMk/>
          <pc:sldMk cId="3644918162" sldId="370"/>
        </pc:sldMkLst>
        <pc:spChg chg="del">
          <ac:chgData name="Neriman EL HADIDI" userId="4b24840c-84b3-44ac-9131-ca3568cb403b" providerId="ADAL" clId="{DEC2644B-FBB3-4E70-8177-D39ED5E85D5B}" dt="2024-11-01T09:05:30.544" v="12" actId="478"/>
          <ac:spMkLst>
            <pc:docMk/>
            <pc:sldMk cId="3644918162" sldId="370"/>
            <ac:spMk id="2" creationId="{6F37D498-61D2-430B-0FFE-1D6053FC2C2E}"/>
          </ac:spMkLst>
        </pc:spChg>
        <pc:spChg chg="del">
          <ac:chgData name="Neriman EL HADIDI" userId="4b24840c-84b3-44ac-9131-ca3568cb403b" providerId="ADAL" clId="{DEC2644B-FBB3-4E70-8177-D39ED5E85D5B}" dt="2024-11-01T09:05:30.544" v="12" actId="478"/>
          <ac:spMkLst>
            <pc:docMk/>
            <pc:sldMk cId="3644918162" sldId="370"/>
            <ac:spMk id="3" creationId="{E672400A-1108-3E3C-7422-CBA7B51FF8C8}"/>
          </ac:spMkLst>
        </pc:spChg>
      </pc:sldChg>
      <pc:sldChg chg="modSp mod">
        <pc:chgData name="Neriman EL HADIDI" userId="4b24840c-84b3-44ac-9131-ca3568cb403b" providerId="ADAL" clId="{DEC2644B-FBB3-4E70-8177-D39ED5E85D5B}" dt="2024-11-01T09:06:09.704" v="16" actId="27918"/>
        <pc:sldMkLst>
          <pc:docMk/>
          <pc:sldMk cId="1411033201" sldId="408"/>
        </pc:sldMkLst>
        <pc:graphicFrameChg chg="mod">
          <ac:chgData name="Neriman EL HADIDI" userId="4b24840c-84b3-44ac-9131-ca3568cb403b" providerId="ADAL" clId="{DEC2644B-FBB3-4E70-8177-D39ED5E85D5B}" dt="2024-11-01T09:05:51.351" v="13"/>
          <ac:graphicFrameMkLst>
            <pc:docMk/>
            <pc:sldMk cId="1411033201" sldId="408"/>
            <ac:graphicFrameMk id="16" creationId="{1500463F-9113-F853-0F0E-F384F111BD54}"/>
          </ac:graphicFrameMkLst>
        </pc:graphicFrameChg>
      </pc:sldChg>
      <pc:sldChg chg="modSp">
        <pc:chgData name="Neriman EL HADIDI" userId="4b24840c-84b3-44ac-9131-ca3568cb403b" providerId="ADAL" clId="{DEC2644B-FBB3-4E70-8177-D39ED5E85D5B}" dt="2024-11-01T09:01:17.763" v="4"/>
        <pc:sldMkLst>
          <pc:docMk/>
          <pc:sldMk cId="2693478404" sldId="2147329454"/>
        </pc:sldMkLst>
        <pc:graphicFrameChg chg="mod">
          <ac:chgData name="Neriman EL HADIDI" userId="4b24840c-84b3-44ac-9131-ca3568cb403b" providerId="ADAL" clId="{DEC2644B-FBB3-4E70-8177-D39ED5E85D5B}" dt="2024-11-01T09:01:10.407" v="3"/>
          <ac:graphicFrameMkLst>
            <pc:docMk/>
            <pc:sldMk cId="2693478404" sldId="2147329454"/>
            <ac:graphicFrameMk id="16" creationId="{D7F2F964-1E28-4339-8493-893E64CC273B}"/>
          </ac:graphicFrameMkLst>
        </pc:graphicFrameChg>
        <pc:graphicFrameChg chg="mod">
          <ac:chgData name="Neriman EL HADIDI" userId="4b24840c-84b3-44ac-9131-ca3568cb403b" providerId="ADAL" clId="{DEC2644B-FBB3-4E70-8177-D39ED5E85D5B}" dt="2024-11-01T09:01:17.763" v="4"/>
          <ac:graphicFrameMkLst>
            <pc:docMk/>
            <pc:sldMk cId="2693478404" sldId="2147329454"/>
            <ac:graphicFrameMk id="22" creationId="{B6BC63DB-BB68-E22B-6F46-70632876165B}"/>
          </ac:graphicFrameMkLst>
        </pc:graphicFrameChg>
      </pc:sldChg>
      <pc:sldChg chg="modSp">
        <pc:chgData name="Neriman EL HADIDI" userId="4b24840c-84b3-44ac-9131-ca3568cb403b" providerId="ADAL" clId="{DEC2644B-FBB3-4E70-8177-D39ED5E85D5B}" dt="2024-11-01T09:04:49.391" v="10"/>
        <pc:sldMkLst>
          <pc:docMk/>
          <pc:sldMk cId="1340521327" sldId="2147378386"/>
        </pc:sldMkLst>
        <pc:graphicFrameChg chg="mod">
          <ac:chgData name="Neriman EL HADIDI" userId="4b24840c-84b3-44ac-9131-ca3568cb403b" providerId="ADAL" clId="{DEC2644B-FBB3-4E70-8177-D39ED5E85D5B}" dt="2024-11-01T09:04:49.391" v="10"/>
          <ac:graphicFrameMkLst>
            <pc:docMk/>
            <pc:sldMk cId="1340521327" sldId="2147378386"/>
            <ac:graphicFrameMk id="22" creationId="{BDCCA8F9-9B4E-4C69-981A-F30479D8A570}"/>
          </ac:graphicFrameMkLst>
        </pc:graphicFrameChg>
      </pc:sldChg>
      <pc:sldChg chg="modSp mod">
        <pc:chgData name="Neriman EL HADIDI" userId="4b24840c-84b3-44ac-9131-ca3568cb403b" providerId="ADAL" clId="{DEC2644B-FBB3-4E70-8177-D39ED5E85D5B}" dt="2024-11-01T09:00:54.519" v="2" actId="14100"/>
        <pc:sldMkLst>
          <pc:docMk/>
          <pc:sldMk cId="1380102355" sldId="2147378506"/>
        </pc:sldMkLst>
        <pc:graphicFrameChg chg="mod modGraphic">
          <ac:chgData name="Neriman EL HADIDI" userId="4b24840c-84b3-44ac-9131-ca3568cb403b" providerId="ADAL" clId="{DEC2644B-FBB3-4E70-8177-D39ED5E85D5B}" dt="2024-11-01T09:00:54.519" v="2" actId="14100"/>
          <ac:graphicFrameMkLst>
            <pc:docMk/>
            <pc:sldMk cId="1380102355" sldId="2147378506"/>
            <ac:graphicFrameMk id="3" creationId="{BF02A555-6E65-401F-8EC5-C5F12914697A}"/>
          </ac:graphicFrameMkLst>
        </pc:graphicFrameChg>
      </pc:sldChg>
      <pc:sldChg chg="modSp">
        <pc:chgData name="Neriman EL HADIDI" userId="4b24840c-84b3-44ac-9131-ca3568cb403b" providerId="ADAL" clId="{DEC2644B-FBB3-4E70-8177-D39ED5E85D5B}" dt="2024-11-01T09:03:55.942" v="9"/>
        <pc:sldMkLst>
          <pc:docMk/>
          <pc:sldMk cId="3546637518" sldId="2147378510"/>
        </pc:sldMkLst>
        <pc:graphicFrameChg chg="mod">
          <ac:chgData name="Neriman EL HADIDI" userId="4b24840c-84b3-44ac-9131-ca3568cb403b" providerId="ADAL" clId="{DEC2644B-FBB3-4E70-8177-D39ED5E85D5B}" dt="2024-11-01T09:03:55.942" v="9"/>
          <ac:graphicFrameMkLst>
            <pc:docMk/>
            <pc:sldMk cId="3546637518" sldId="2147378510"/>
            <ac:graphicFrameMk id="6" creationId="{903336ED-9778-D2E5-A3B1-EA932B617DB3}"/>
          </ac:graphicFrameMkLst>
        </pc:graphicFrameChg>
        <pc:graphicFrameChg chg="mod">
          <ac:chgData name="Neriman EL HADIDI" userId="4b24840c-84b3-44ac-9131-ca3568cb403b" providerId="ADAL" clId="{DEC2644B-FBB3-4E70-8177-D39ED5E85D5B}" dt="2024-11-01T09:03:47.948" v="8"/>
          <ac:graphicFrameMkLst>
            <pc:docMk/>
            <pc:sldMk cId="3546637518" sldId="2147378510"/>
            <ac:graphicFrameMk id="20" creationId="{4F1AC2C4-E03E-4D63-9CFE-5DD45DD67548}"/>
          </ac:graphicFrameMkLst>
        </pc:graphicFrameChg>
      </pc:sldChg>
      <pc:sldChg chg="modSp">
        <pc:chgData name="Neriman EL HADIDI" userId="4b24840c-84b3-44ac-9131-ca3568cb403b" providerId="ADAL" clId="{DEC2644B-FBB3-4E70-8177-D39ED5E85D5B}" dt="2024-11-01T09:04:58.900" v="11"/>
        <pc:sldMkLst>
          <pc:docMk/>
          <pc:sldMk cId="2800720980" sldId="2147471718"/>
        </pc:sldMkLst>
        <pc:graphicFrameChg chg="mod">
          <ac:chgData name="Neriman EL HADIDI" userId="4b24840c-84b3-44ac-9131-ca3568cb403b" providerId="ADAL" clId="{DEC2644B-FBB3-4E70-8177-D39ED5E85D5B}" dt="2024-11-01T09:04:58.900" v="11"/>
          <ac:graphicFrameMkLst>
            <pc:docMk/>
            <pc:sldMk cId="2800720980" sldId="2147471718"/>
            <ac:graphicFrameMk id="22" creationId="{BDCCA8F9-9B4E-4C69-981A-F30479D8A570}"/>
          </ac:graphicFrameMkLst>
        </pc:graphicFrameChg>
      </pc:sldChg>
      <pc:sldChg chg="modSp mod">
        <pc:chgData name="Neriman EL HADIDI" userId="4b24840c-84b3-44ac-9131-ca3568cb403b" providerId="ADAL" clId="{DEC2644B-FBB3-4E70-8177-D39ED5E85D5B}" dt="2024-11-01T09:06:06.280" v="15" actId="27918"/>
        <pc:sldMkLst>
          <pc:docMk/>
          <pc:sldMk cId="354591731" sldId="2147473384"/>
        </pc:sldMkLst>
        <pc:graphicFrameChg chg="mod">
          <ac:chgData name="Neriman EL HADIDI" userId="4b24840c-84b3-44ac-9131-ca3568cb403b" providerId="ADAL" clId="{DEC2644B-FBB3-4E70-8177-D39ED5E85D5B}" dt="2024-11-01T09:06:02.513" v="14"/>
          <ac:graphicFrameMkLst>
            <pc:docMk/>
            <pc:sldMk cId="354591731" sldId="2147473384"/>
            <ac:graphicFrameMk id="16" creationId="{1500463F-9113-F853-0F0E-F384F111BD54}"/>
          </ac:graphicFrameMkLst>
        </pc:graphicFrameChg>
      </pc:sldChg>
      <pc:sldChg chg="delSp mod">
        <pc:chgData name="Neriman EL HADIDI" userId="4b24840c-84b3-44ac-9131-ca3568cb403b" providerId="ADAL" clId="{DEC2644B-FBB3-4E70-8177-D39ED5E85D5B}" dt="2024-11-01T09:02:21.352" v="5" actId="478"/>
        <pc:sldMkLst>
          <pc:docMk/>
          <pc:sldMk cId="3548136992" sldId="2147475151"/>
        </pc:sldMkLst>
        <pc:spChg chg="del">
          <ac:chgData name="Neriman EL HADIDI" userId="4b24840c-84b3-44ac-9131-ca3568cb403b" providerId="ADAL" clId="{DEC2644B-FBB3-4E70-8177-D39ED5E85D5B}" dt="2024-11-01T09:02:21.352" v="5" actId="478"/>
          <ac:spMkLst>
            <pc:docMk/>
            <pc:sldMk cId="3548136992" sldId="2147475151"/>
            <ac:spMk id="13" creationId="{07164268-310E-52F7-2DCD-44921744491C}"/>
          </ac:spMkLst>
        </pc:spChg>
      </pc:sldChg>
      <pc:sldMasterChg chg="del">
        <pc:chgData name="Neriman EL HADIDI" userId="4b24840c-84b3-44ac-9131-ca3568cb403b" providerId="ADAL" clId="{DEC2644B-FBB3-4E70-8177-D39ED5E85D5B}" dt="2024-11-01T09:00:26.894" v="0" actId="2696"/>
        <pc:sldMasterMkLst>
          <pc:docMk/>
          <pc:sldMasterMk cId="823099819" sldId="2147483792"/>
        </pc:sldMasterMkLst>
      </pc:sldMasterChg>
      <pc:sldMasterChg chg="del">
        <pc:chgData name="Neriman EL HADIDI" userId="4b24840c-84b3-44ac-9131-ca3568cb403b" providerId="ADAL" clId="{DEC2644B-FBB3-4E70-8177-D39ED5E85D5B}" dt="2024-11-01T09:00:36.050" v="1" actId="2696"/>
        <pc:sldMasterMkLst>
          <pc:docMk/>
          <pc:sldMasterMk cId="2323846169" sldId="2147483844"/>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0.xml"/><Relationship Id="rId1" Type="http://schemas.microsoft.com/office/2011/relationships/chartStyle" Target="style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1.xml"/><Relationship Id="rId1" Type="http://schemas.microsoft.com/office/2011/relationships/chartStyle" Target="style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2.xml"/><Relationship Id="rId1" Type="http://schemas.microsoft.com/office/2011/relationships/chartStyle" Target="style1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3.xml"/><Relationship Id="rId1" Type="http://schemas.microsoft.com/office/2011/relationships/chartStyle" Target="style1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16.xml"/><Relationship Id="rId1" Type="http://schemas.microsoft.com/office/2011/relationships/chartStyle" Target="style1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17.xml"/><Relationship Id="rId1" Type="http://schemas.microsoft.com/office/2011/relationships/chartStyle" Target="style1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8.xml"/><Relationship Id="rId1" Type="http://schemas.microsoft.com/office/2011/relationships/chartStyle" Target="style1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9.xml"/><Relationship Id="rId1" Type="http://schemas.microsoft.com/office/2011/relationships/chartStyle" Target="style19.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20.xml"/><Relationship Id="rId1" Type="http://schemas.microsoft.com/office/2011/relationships/chartStyle" Target="style20.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21.xml"/><Relationship Id="rId1" Type="http://schemas.microsoft.com/office/2011/relationships/chartStyle" Target="style21.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22.xml"/><Relationship Id="rId1" Type="http://schemas.microsoft.com/office/2011/relationships/chartStyle" Target="style22.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23.xml"/><Relationship Id="rId1" Type="http://schemas.microsoft.com/office/2011/relationships/chartStyle" Target="style23.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24.xml"/><Relationship Id="rId1" Type="http://schemas.microsoft.com/office/2011/relationships/chartStyle" Target="style24.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5.xml"/><Relationship Id="rId1" Type="http://schemas.microsoft.com/office/2011/relationships/chartStyle" Target="style2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TPR</c:v>
                </c:pt>
              </c:strCache>
            </c:strRef>
          </c:tx>
          <c:spPr>
            <a:solidFill>
              <a:schemeClr val="accent2">
                <a:shade val="76000"/>
              </a:schemeClr>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rbi Dario Spa</c:v>
                </c:pt>
                <c:pt idx="1">
                  <c:v>Esca Srl</c:v>
                </c:pt>
                <c:pt idx="2">
                  <c:v>Findus</c:v>
                </c:pt>
                <c:pt idx="3">
                  <c:v>Frosta</c:v>
                </c:pt>
                <c:pt idx="4">
                  <c:v>Krusta Group</c:v>
                </c:pt>
                <c:pt idx="5">
                  <c:v>New Food</c:v>
                </c:pt>
                <c:pt idx="6">
                  <c:v>Panapesca</c:v>
                </c:pt>
                <c:pt idx="7">
                  <c:v>Pescanova S.A.</c:v>
                </c:pt>
                <c:pt idx="8">
                  <c:v>Private Label</c:v>
                </c:pt>
              </c:strCache>
            </c:strRef>
          </c:cat>
          <c:val>
            <c:numRef>
              <c:f>Sheet1!$B$2:$B$10</c:f>
              <c:numCache>
                <c:formatCode>General</c:formatCode>
                <c:ptCount val="9"/>
                <c:pt idx="0">
                  <c:v>0.97553731504482122</c:v>
                </c:pt>
                <c:pt idx="1">
                  <c:v>1</c:v>
                </c:pt>
                <c:pt idx="2">
                  <c:v>0.96560128666794454</c:v>
                </c:pt>
                <c:pt idx="3">
                  <c:v>1</c:v>
                </c:pt>
                <c:pt idx="4">
                  <c:v>4.2670982812054552E-2</c:v>
                </c:pt>
                <c:pt idx="5">
                  <c:v>1</c:v>
                </c:pt>
                <c:pt idx="6">
                  <c:v>0.71063588973412994</c:v>
                </c:pt>
                <c:pt idx="7">
                  <c:v>4.152747056740308E-2</c:v>
                </c:pt>
                <c:pt idx="8">
                  <c:v>0.8831725760195916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c:v>
                </c:pt>
              </c:strCache>
            </c:strRef>
          </c:tx>
          <c:spPr>
            <a:solidFill>
              <a:schemeClr val="accent2">
                <a:tint val="77000"/>
              </a:schemeClr>
            </a:solidFill>
            <a:ln>
              <a:no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rbi Dario Spa</c:v>
                </c:pt>
                <c:pt idx="1">
                  <c:v>Esca Srl</c:v>
                </c:pt>
                <c:pt idx="2">
                  <c:v>Findus</c:v>
                </c:pt>
                <c:pt idx="3">
                  <c:v>Frosta</c:v>
                </c:pt>
                <c:pt idx="4">
                  <c:v>Krusta Group</c:v>
                </c:pt>
                <c:pt idx="5">
                  <c:v>New Food</c:v>
                </c:pt>
                <c:pt idx="6">
                  <c:v>Panapesca</c:v>
                </c:pt>
                <c:pt idx="7">
                  <c:v>Pescanova S.A.</c:v>
                </c:pt>
                <c:pt idx="8">
                  <c:v>Private Label</c:v>
                </c:pt>
              </c:strCache>
            </c:strRef>
          </c:cat>
          <c:val>
            <c:numRef>
              <c:f>Sheet1!$C$2:$C$10</c:f>
              <c:numCache>
                <c:formatCode>General</c:formatCode>
                <c:ptCount val="9"/>
                <c:pt idx="0">
                  <c:v>2.446268495517874E-2</c:v>
                </c:pt>
                <c:pt idx="2">
                  <c:v>3.4398713332055492E-2</c:v>
                </c:pt>
                <c:pt idx="4">
                  <c:v>0.9573290171879455</c:v>
                </c:pt>
                <c:pt idx="6">
                  <c:v>0.28936411026586994</c:v>
                </c:pt>
                <c:pt idx="7">
                  <c:v>0.95847252943259698</c:v>
                </c:pt>
                <c:pt idx="8">
                  <c:v>0.1168274239804084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756328472E-2"/>
          <c:y val="3.7948661595622463E-2"/>
          <c:w val="0.93691511195956778"/>
          <c:h val="0.78210123658438346"/>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Feature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1018634592872957"/>
          <c:y val="0.9195782501361186"/>
          <c:w val="0.34355071262700604"/>
          <c:h val="8.0421749863881425E-2"/>
        </c:manualLayout>
      </c:layou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8980341809E-2"/>
          <c:y val="4.1660304546965121E-2"/>
          <c:w val="0.93691511195956778"/>
          <c:h val="0.7820524939432844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Display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6596513476788334"/>
          <c:y val="0.92935175768467493"/>
          <c:w val="0.26493263520201288"/>
          <c:h val="6.3586476328904809E-2"/>
        </c:manualLayout>
      </c:layou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745811C1-D1D6-4FC2-8B2B-5408F9C0C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DB56C9BC-3A7C-41A4-9A14-00FA856B8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9C78C6D9-45F7-45BE-8302-96F39CD15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4DD90EA6-AFFF-4C1F-BDAD-F5D7AEE54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1551604A-82D5-4C3B-84F5-351F9560D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EE6298D5-78E3-49BF-BEF5-A46C85E20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B983F829-B0D4-4AD7-8C34-95148616A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081CF030-5890-480E-91EA-00743516C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C5C5C749-873D-4D49-A37E-D7A5FE62A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CCC95373-5EAD-4B67-9B12-FFBE2E776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739D295A-71FC-4216-B12E-DF1231C96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190826F8-25E6-4C3A-8DCB-AACFB5C53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1F218ECA-C3AE-485D-A451-4D9AB6B22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02BB1651-4F2A-4CB6-A0B9-BED5AB337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F5F586B5-E8DC-4BC8-8D4B-BE1447464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2B5CDFDB-A6E4-4A6D-90FD-9EB0EF6B5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568376D6-1676-4F75-BB7F-930C1B39A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28AFFA42-7F10-43E9-8A4D-C14A9CF51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37856B1D-F56C-4E75-AC87-30B7B54F8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3A22838A-26D9-4E28-980D-892BFE5B4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E36A164F-9E4F-4565-A2DB-156C7B222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22D98FA2-A791-4B57-9799-C57632D87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A39A85D6-9AA4-4DA9-8BC6-ED9F8FD21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13EED067-926E-4BC0-9F22-0F8D9FF39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948D3D95-12B9-4101-9E79-26E9DBA5D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DB9733CB-BAF9-4A02-8ABB-D8CEEE849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C019056F-6C7F-4181-8C09-8F053944E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B462FE90-4F80-42AE-87C5-9D27A3019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25A23362-A8FB-4677-967C-F2F4020DA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B27781BB-5D81-4F2C-95A2-74FB7DABA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CA6882AB-A26D-41B3-B5C4-6934A36A1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F8CABD81-06A9-4194-AC05-6C7A3F0BB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9FF73442-DB6C-4321-B584-9253875DE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B3AFB51F-376D-4249-8D68-509101C73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5D07C71D-6612-459A-AC0A-A2A3F4816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A299F431-9BEA-48FD-9203-231C234FC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3554941C-19DD-471B-A384-78EB7C6F6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709CB135-2806-4235-BA63-E6EC8267B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AB594FF9-EA6D-4C61-86C5-3F5886A9F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456934D0-B715-430C-82F5-907D2127F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30C82D56-6933-4638-8056-7B3FD3298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19CE3178-C530-4FFF-9C84-5E46DDA22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E3EDCAC3-02BC-4E4F-8CEB-A9E08F368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9F9162F8-AF60-4C7B-B0A4-9CC88CED6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53127DE0-0128-4582-9ECC-F53626F91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5D5A4893-0E7B-44AC-8016-AFB55EEF6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5A8C3039-7002-4D2C-846C-DC5C52D5A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0AB416F9-449D-448B-9129-515666C4D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1604434B-41C8-4F74-A191-3F90A3D5D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DB545A81-6F58-4A10-B220-1F1435513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A5D55582-9D6A-42A7-8626-F92901FA9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90E447F3-A8CF-49CC-8D06-0AB1A36CF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E7CAA8D8-26EE-443A-AFD1-E5A038FCC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CE1FB681-6D16-4A3E-9AE1-9F998CB1A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13D1E7EE-7F05-4C07-9B79-B7E2271DA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4352FFC8-EA7B-413F-A874-AF8AF1CCE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57</c:f>
              <c:numCache>
                <c:formatCode>General</c:formatCode>
                <c:ptCount val="5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numCache>
            </c:numRef>
          </c:xVal>
          <c:yVal>
            <c:numRef>
              <c:f>Sheet1!$B$2:$B$57</c:f>
              <c:numCache>
                <c:formatCode>0%;\-0%;0%</c:formatCode>
                <c:ptCount val="5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numCache>
            </c:numRef>
          </c:yVal>
          <c:bubbleSize>
            <c:numRef>
              <c:f>Sheet1!$C$2:$C$57</c:f>
              <c:numCache>
                <c:formatCode>0%;\-0%;0%</c:formatCode>
                <c:ptCount val="5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numCache>
            </c:numRef>
          </c:bubbleSize>
          <c:bubble3D val="0"/>
          <c:extLst>
            <c:ext xmlns:c15="http://schemas.microsoft.com/office/drawing/2012/chart" uri="{02D57815-91ED-43cb-92C2-25804820EDAC}">
              <c15:datalabelsRange>
                <c15:f>Sheet1!$E$2:$E$57</c15:f>
                <c15:dlblRangeCache>
                  <c:ptCount val="56"/>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0-9B64-4614-A4EF-2F0C825129C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21BF-47A7-B366-E3F0AD114BCE}"/>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3CBE-4AE8-80EA-8E325A05E683}"/>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D010-4ADB-9B73-BF9B36FE3842}"/>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4BB0F052-2940-46BB-97FD-F40A3EF6DE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E800CDC5-C117-4278-992D-33CC0554F4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853BAD03-E595-4F9E-B061-8BCCEB6592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D4C265CC-E1E9-407E-B16F-590192C3B0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F9AA42C1-C153-4195-8570-827728D9BD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85722537-868F-47D2-9A94-CB00FB7442F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D0570664-4414-4E90-AB1D-0D110E6020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CA26B9AF-783F-4063-831E-5506B91060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04D7D4EC-519C-44DE-8829-F22AB44FBD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6F16DDA7-EE0B-4B1A-B020-657ADCD28E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2836BD62-1749-42F7-950B-5E0463C195C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E557AA98-6D92-4B97-BDFA-B6ACBB12AE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A621CCFF-D395-4EF4-879E-76DC023584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20917B5B-6FAA-4660-80FA-417E89A755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4DA57634-9A25-44D6-BD4B-993EF7260D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04054048-0CB1-41D7-8DA2-00FDCB9F70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A409EA2B-5BDC-4BF5-90E9-CAEBFA4478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BC258952-81BF-4D43-B85D-06A253A5B0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4D44B1AE-48F6-444B-B017-C992691B2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689D09CD-AF27-4661-8EC9-1DE2D444A61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ECD1C403-21B6-4CBA-835B-D6836F1D75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89B356C1-02F3-450F-B61C-A5EC63CB0A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94D8EF2B-621D-4D5B-A454-DD4D025865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1579856C-D6E8-4687-98F5-C1F5F4AE59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C5189FD-B9EF-4C11-9450-8DF88B805A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A74881AB-A125-4B43-9077-612C860B1D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BB41D7DE-5D79-4D36-9800-2AD8E9FE55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23402DAC-88E7-4A93-A6A6-0CC774E022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FF4F9079-B62B-4FFF-AA1F-658AEC6A4C9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250FC082-B8C4-443B-A7C2-8663C0424C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D2BEA474-E818-44C7-AE59-FB0887B08C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DC63695F-15CB-451B-99B9-58071A8591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5DC30984-0544-4323-9BFA-3F493A191B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E8126B63-C5EC-4498-B74E-434A2646E4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169FFF0A-F507-4675-83E8-EF020DD104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3613DACC-62D0-4E9B-BDCB-98A177A8C4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E1DB0E7B-82FD-49AE-9A23-7669B1E450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E23571E9-C2D8-49DF-9D43-31A801823C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395F76A-A9D5-4024-815D-21263E1E19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38A4CC2A-5503-468A-A88B-4FE194E5D3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BA852451-0362-44B4-9145-7AAB0069BE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24D58195-D790-45E1-A714-A8916F1C2A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5D81EE96-6410-45E7-83A9-46897F7611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60A22C1F-0AEA-4B87-8249-BF37A65CA1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2C2692B7-574F-49D4-AA33-C475107CA0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BC7AAAF5-C12C-4FEB-BC40-7A2626D2B5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CEC3B629-E6EB-4021-8E01-44A42BD506C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F873EDAC-B2CD-4B04-A6DD-6C6D5F41B5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H$1</c:f>
              <c:strCache>
                <c:ptCount val="1"/>
                <c:pt idx="0">
                  <c:v>Total Beer</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H$2:$H$37</c:f>
              <c:numCache>
                <c:formatCode>0%</c:formatCode>
                <c:ptCount val="36"/>
                <c:pt idx="0">
                  <c:v>0.95546131454801952</c:v>
                </c:pt>
                <c:pt idx="1">
                  <c:v>1.0658820616078615</c:v>
                </c:pt>
                <c:pt idx="2">
                  <c:v>1.2845151692566505</c:v>
                </c:pt>
                <c:pt idx="3">
                  <c:v>1.3313017548720483</c:v>
                </c:pt>
                <c:pt idx="4">
                  <c:v>1.1068184803119951</c:v>
                </c:pt>
                <c:pt idx="5">
                  <c:v>0.94899677223263834</c:v>
                </c:pt>
                <c:pt idx="6">
                  <c:v>0.83477183537813959</c:v>
                </c:pt>
                <c:pt idx="7">
                  <c:v>0.84011161209200691</c:v>
                </c:pt>
                <c:pt idx="8">
                  <c:v>0.77917016473858225</c:v>
                </c:pt>
                <c:pt idx="9">
                  <c:v>0.71206172491546882</c:v>
                </c:pt>
                <c:pt idx="10">
                  <c:v>0.81106709556909162</c:v>
                </c:pt>
                <c:pt idx="11">
                  <c:v>0.9277477499727792</c:v>
                </c:pt>
                <c:pt idx="12">
                  <c:v>1.0920086483852394</c:v>
                </c:pt>
                <c:pt idx="13">
                  <c:v>1.1645640879461192</c:v>
                </c:pt>
                <c:pt idx="14">
                  <c:v>1.3394712489027132</c:v>
                </c:pt>
                <c:pt idx="15">
                  <c:v>1.385364724773833</c:v>
                </c:pt>
                <c:pt idx="16">
                  <c:v>1.09543210519944</c:v>
                </c:pt>
                <c:pt idx="17">
                  <c:v>0.98674858460748094</c:v>
                </c:pt>
                <c:pt idx="18">
                  <c:v>0.84917082857101733</c:v>
                </c:pt>
                <c:pt idx="19">
                  <c:v>0.85719303641823441</c:v>
                </c:pt>
                <c:pt idx="20">
                  <c:v>0.78197004161366457</c:v>
                </c:pt>
                <c:pt idx="21">
                  <c:v>0.69703071129708638</c:v>
                </c:pt>
                <c:pt idx="22">
                  <c:v>0.79071387982439756</c:v>
                </c:pt>
                <c:pt idx="23">
                  <c:v>0.88455450114308931</c:v>
                </c:pt>
                <c:pt idx="24">
                  <c:v>1.0196652421871197</c:v>
                </c:pt>
                <c:pt idx="25">
                  <c:v>1.1154654321101694</c:v>
                </c:pt>
                <c:pt idx="26">
                  <c:v>1.3246385889547703</c:v>
                </c:pt>
                <c:pt idx="27">
                  <c:v>1.3903689367482381</c:v>
                </c:pt>
                <c:pt idx="28">
                  <c:v>1.2142901567469886</c:v>
                </c:pt>
                <c:pt idx="29">
                  <c:v>1.0101815115591093</c:v>
                </c:pt>
                <c:pt idx="30">
                  <c:v>0.86238905481134409</c:v>
                </c:pt>
                <c:pt idx="31">
                  <c:v>0.90873194300402316</c:v>
                </c:pt>
                <c:pt idx="32">
                  <c:v>0.90889323356956364</c:v>
                </c:pt>
                <c:pt idx="33">
                  <c:v>0.95210305170981779</c:v>
                </c:pt>
                <c:pt idx="34">
                  <c:v>1.0118490056185914</c:v>
                </c:pt>
                <c:pt idx="35">
                  <c:v>1.1271547091020271</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A5C6A0BC-D2EF-484D-B676-03B1AC4AEC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F170299B-C718-41AC-8861-8DCE853362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3D0121A2-5E63-48BC-A5D6-977E647865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350369B-4373-4528-AF77-0EC1604B06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6D204820-4D68-4A50-A4AB-57A91D5D4A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C3CCC28A-20EE-4275-AE88-09D2418C6E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78F706E-5077-40A8-BE23-009F5E9B22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582B502-A3D8-4359-9932-8421A7AF57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313EBCB-20E0-4FA9-959F-75F61E7C55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E341076-A6FE-4811-90DF-40AA7E5003C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885537DC-519B-4361-9D1B-7AA6B5694D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D6BF5CC9-651F-4B64-9AFA-1A73531370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DEDC6CA-081A-472A-96EF-6A73133493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216E1A8B-60BE-404A-8950-868622E64C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82FF66B-2416-4065-B166-CCEFC2AA67F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615FBE2F-B313-43E9-A670-D9E4218ECE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3755D66B-82C9-49F3-8B51-B77084B406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0686903F-4E50-4097-BDFB-88355A8B18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0506BEF4-4E38-4676-A002-E6DB6266DB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412FF541-73DF-46D7-9F04-29195B6C5F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B99983E3-F8B0-4985-A67E-0A1AC929CE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72F31972-F79E-4A6C-A244-15BD752DF0D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8BE0FF6B-C8A1-4CB2-A9A5-BDAD4A3271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8A95479C-2EFD-4BAA-81D0-A0A4098D3FA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97DAE45F-79BA-43EA-B840-F65E076A50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1559B190-B876-4C69-9203-943E4D726A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673B27E2-BF24-40A0-95B2-59B3958815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E373AB27-7B19-48ED-9C80-5EC73C7889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B5901F54-F7C6-4094-92DC-C5963FFAF4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92D5C5D2-809A-4641-ABD8-977083AA982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BBE064F9-046C-426C-9A8E-BD224D70D4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690C6B98-FFDB-4EB4-BFD0-F2740DC272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24B8392-A900-4B13-B979-519785B56F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D6E598B-FDF1-466D-93FA-D6C12EB686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A136E16E-C7B7-4195-9048-87D02CAB58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C9EE2F1-50C1-427E-BCCF-B544473BBB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DA471B3-7DFB-4E0A-984A-B89DD18917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3CB634C-7ED8-400F-A15A-36A2ED7451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BC81C0A8-C977-49FB-BE1F-99D62728F0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41AB723-2B78-4568-A88E-A3D5B5787F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76A6CF2-C71B-4353-A155-282EF004E3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A0F412A-FA6A-4B8F-BD2C-61F7BC2E0E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FB978C11-FDDB-4145-84D9-E46BDA6011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B9B6729-7C62-437B-AE96-2980A3CF07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BE1131D-2296-4CFC-8D1A-85848F3D36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8103A91B-0548-4F64-A851-62C3CA5D42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A9933C4-069B-44D4-BADC-884BDC1AB8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D0C62C-9D84-402A-A139-0053E7D275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EEE10EA7-2F46-41E0-B727-4659927BD3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381A2413-6BD0-4079-8C9A-481B637860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7171F00-EB86-4328-82B1-A253971B9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F2C9AB-FBE1-4475-8267-7D1C6EF7D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3797D993-3437-4E3E-9172-1E30AB15C0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8B03B16-DC24-4A2F-90BF-B04EE3545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3AC5E2C-2C6E-4B0A-B0A6-725B45459B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397F4EA1-2B28-421A-A9AA-0038E7CD15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8B155058-6D9A-4D3A-B68C-059B427B3A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D517965-DC9C-4FE5-9F3D-30F3967F19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5B93807C-D0E8-41E5-B352-72FA8D878E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5E6D122-44CC-4DA8-91DB-166E340ACC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C82682B-471C-48F2-8F6D-70EF6A0662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8DAE423A-3D64-4F9A-AEC7-47FFAC8645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A4B591C-F0A7-4E74-BA72-B381A8B5D8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3619FA-0CF8-4C50-937F-AA394ADE57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783CA0D5-B2CF-45A4-825D-5D09FFFDA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6CE653AB-837E-4009-8F0D-6C2B8CFD6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2DBD4A28-2F08-46CF-9D12-04CF9FFA0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E1B90885-BE8D-4C0C-B784-7440CF788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979DDD8B-9355-4CD0-BE37-B2502FDAE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14B69072-A793-49F5-A218-298BF4426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F0187637-2644-4C58-A279-59C7BB206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95E7CFF4-76DB-4A7B-9B5F-FEA35FF75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0E6EACC2-78EB-4081-B25F-D91648AD2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E507E615-2063-46C4-A5B3-7E1A88577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6BA98655-C216-4C47-AD1E-E564109AC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A0F2E729-D2FE-4994-BD9E-373D2CABE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96A5E886-E3CB-4B7D-9699-AB39D77D9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C44F2D8F-BA81-415A-BF27-7013140D4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EB8B1820-E07C-460B-A033-CF65CEF7F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E33C280-7576-4ADE-9260-BEAB2FDD6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CEFA1A22-582E-48EF-B406-4902136D2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B7B49EBA-942A-4ED1-85C2-77648BC46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778E98F1-FD7A-4AB5-A13E-6801154A1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1A9C29AD-1ADE-477F-82E2-33F0017C3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8514C752-3F59-4170-A00B-742F56C62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04E69AFB-2742-4858-A17F-DB8F27FA7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2172F84F-FFE0-45B6-8856-7FACC9C9B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718EFE76-4D98-485D-8A7B-52EC462D4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87DC7DE-D70B-43FD-86E2-18AABCBBD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65444FFF-19C9-445B-8DBC-E0DAD4CD2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5888662E-C1DA-4F7C-9011-B27048ACE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EDDA47B0-3F4E-418E-B148-8A60E8DD4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C296D607-EE35-4FC0-8569-ECC9D2BA5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DB474554-4DF0-409B-A111-2F0D633D8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F4618E77-E828-49F5-95B8-134EAA78D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34E087B4-D535-42D5-9C24-D4E32E84F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C93F6153-59F5-4F42-BD59-8EEE67055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5D18555C-9273-42B3-93ED-2F8DE49BD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BBB6BFF5-69AB-4C3C-8A72-D0C87E759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C9C6F434-F939-4307-ABAA-D9BD9B0BA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1606DF38-3CC2-4D36-A30A-49DC18079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44B917C8-79BE-48EE-8051-F5EBC5121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7BB65C2D-C46D-447E-886F-C0A52EC24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5FCA6E56-10AF-4EBE-BAA0-0CB177041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2C4EB34B-FBB8-42F4-9D07-6406F4205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C671A1EE-C37C-4B73-B6CF-A17385E2A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32DCA23E-9A4A-4826-A4B1-3E4F3FA36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4A467D69-B69D-4172-8959-C48083DFA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21B5083F-1829-4B4E-AE11-2DB164473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5B9BA591-0F0B-46EC-950B-7FE28D246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860AE618-7FD6-4BF7-AEDA-EF24F3EFD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5687A7B4-D7EE-4099-94B9-38FD47962A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A2D59A40-F473-4A77-970A-2089CCFBE68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719FBD2B-728C-4441-8571-15220D409A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0C8D38AE-71B9-428A-A7CE-6660F93A4F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44B70F89-0EE7-4DC5-A7DB-5E73A7C375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25D5150F-8680-452E-8BE6-90A2734664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D1F7C3D8-CA88-4387-BF66-8D6BEFBCE0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1845B9FF-9A4D-402C-B332-B94C54F667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C8B5EEDC-8604-498A-AF87-6E124E99C3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D61AD10C-1DA0-475F-A3E1-A6ECB66951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5FCB9C08-EDC3-467D-AEDE-43211037D43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83093257-7DBE-4AAE-B035-A97EBDE434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205D8B3F-C83B-485D-B328-33EA6CC2791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9D3E86D2-8D87-4B20-9BBE-0B32D0EB64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5A7203F5-3153-4490-9572-8CEBF1AF6D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9E036D4E-AA32-4EB8-8015-2791D28EF0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59C295E6-CE98-4175-8CF8-D083D2D0DA7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A01D1426-253C-49FA-A867-3942821621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EEA0C8D2-2524-4289-A829-D486A7A0B50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C98D47AD-C4B1-4940-8592-2CECC48F0DD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E3369B8A-D106-4AFC-B452-645B000C20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1E93429A-9424-4F8E-AE78-CB0FB978AD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635E9B43-D278-45C7-A70D-4960FC0427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192E9D27-C8B5-44CD-8D65-95E54CDF7A1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43151C58-EC12-474B-8A08-5C8310DEC8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3F047A9C-D9D9-4A65-93C7-136ED084BB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435C5ED3-64CA-4559-9FA7-A3B0AF16E8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CAF0FF1E-AA76-4BB1-A5A7-122FB695D1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E6EB6094-68D4-4746-9FED-FF5315FF99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3A086E0B-BFB5-477B-9525-1F6712B856E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FE76F2AB-F886-4A19-9173-80758D8CE7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2B014969-D124-4BFD-8829-164C427CCD5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AD903AE0-FB0E-447D-ABA8-DBE0B9E628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5B6B8CF5-D1F9-425C-97A9-0779B3A39F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F80D00E-2AE2-4CDE-84AE-6646B54D49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5131E3C4-EA8F-426B-8CEA-BA9523BD0A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A6DA9FCE-4AA3-49C0-B05C-6CBA0D2CE0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71EBF1B9-5389-41AF-BB72-E0C82EEB6A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AD34D4BC-7CA1-4E25-AB5D-B4DED1C1B9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227DC4BE-34A9-4F07-8597-A85263DBCAB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DC4E7DBA-3E18-49FE-B0E5-726BA5805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31569E4B-890B-4F02-8409-1C120A7F01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1425330E-EB61-428D-A486-9BFC796A12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9184EB08-9C6C-4DC6-8D51-1B77104405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0717640A-9340-48F7-8094-66D865C27B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125EDC37-76B0-46AD-BCBF-E4082C6B9A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7732B7ED-428E-4BAE-A093-11B80AC59B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4D91DEED-17F8-4CBD-8E40-FD4A39BD50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97668230-54CA-49A9-893E-46CE96C4B7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60EECC9F-F150-4339-9B4F-2176CFE3457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126DFA80-3645-42B4-9437-131310E55D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44D89338-AC90-430C-B54E-B2E24A6BAE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DF93DEF3-2946-46EF-ADE0-5498C4D6F5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E0ABB6BA-FDAB-4BC6-BB7F-1FFD7AE836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209567B5-C6CA-4DF4-8C01-BA0B004EF2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0B58487D-9B74-4760-80A5-CDC5C520A8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2BAE012A-9F9B-4883-8F82-F99730EFE7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0E77B37F-3BF6-47BE-983D-C106016A10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36DDFDF8-D2D6-4CEA-8E90-F893307E163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3DE2FD97-4D07-4AD1-AD1C-B610C82DAD9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988F9B62-8C21-415F-88D2-619DC6C84D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61EFE56E-E4FD-453D-94F1-B9B77FCCB6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9415BBC1-6CDD-4C54-AE2C-4150B99BE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FCC373BC-E4B8-40B4-B4AB-8157FF116C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C59D5B7A-0E85-43AA-9580-485DFEE2D0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DE140148-E73D-4FDD-99D5-4ED495A034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1EAA8CDE-0860-4D7D-9216-6B0C6DD9C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A43EDF67-913F-4F2E-8BE4-E3A2881E7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EA107FAC-EBC0-4890-9CBE-B3F0493D7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979916B1-E08B-4D77-A904-BD2B5EEE2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65329FA4-19CE-4F5F-A9EC-6315C72DB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0777DA15-108E-417E-B283-503EAC202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AAC79965-7CD1-4F3B-A21F-3C7D5BED4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7CDFF339-EEF3-45AA-B972-C292AFE8F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8CA99EA7-23D4-42D5-91E3-2453E9A37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5F254BEB-D4ED-43CE-8012-01C887C07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E05A8D47-948E-4EAF-AD68-34517C6E7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4DF96B97-2941-4BA1-A70A-24411D7A5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2344AE27-6BB8-4971-98EF-4503BC4B4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4CFE03C3-B060-4D8E-9559-439EE88D9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2EB1AC6E-3740-4F28-9879-77A47A22C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324F1A37-C376-458F-B8E3-A1744EC19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6033E379-1E78-4CD0-A00E-3D5FF4AA2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4518CBF7-9616-4EC2-8912-8C6739016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D377E937-B99C-4666-A62F-CCF9433F0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34F7F8EF-F58E-4413-94DA-64F21F86C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A4BC58AE-7E48-40E8-8521-4E63104F5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F373058B-174C-49C3-9F7B-0FC255F62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F6017106-9EC9-425E-B7F2-B9E37E587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BFFF46F5-FD94-432B-B048-920B743B0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B3A7D4E7-C98D-47F1-BE84-C005E62E4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2BA89993-A1C7-48A6-8235-57EF59B16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59C62FD6-9D17-44EB-954E-ADA0CB797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C6845B4C-674E-4483-8BF5-222D2BD82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C6A7E99E-2014-4B15-B6C4-5E8D30B02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C881F384-39AF-4DAD-9BC4-15E443D2B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38711D06-C3E3-43F8-A46D-616F77B1B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D099864E-01AD-40A8-AD4C-87B91ED78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C516F129-A3F1-4959-8C36-696E5F1F6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1EE7D7AD-8383-475B-A93B-4B3C1692E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1F997C32-2B90-45F5-BC3F-20EA736BA3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B84ACB84-8D43-4586-9011-7261558867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E36B7852-A363-4A97-B90B-BEECAC4130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C1246EE7-FB05-4659-9B25-01B135C443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358E648D-8E9B-4956-A076-44F2A7B7BF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9EEFC47F-8E14-45A8-9405-568C40CF877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FFB9A23C-9464-4330-9119-421E1FB55C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315C4D06-1C24-494B-9E09-585F78B60AB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27CF11B2-B552-41E1-BD6D-83CA50FFBA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1BB68B22-B0C0-4006-9056-3748007DE7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1E210589-64EA-4E14-8543-7ECEEEB29C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2F9C56E2-12F4-4650-B22C-BF3EB2E49A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CBAD240B-0E21-4A54-83B4-CAAE71F63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E20DF19E-09E5-4F33-9097-381B4A54A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2CB93E37-BC38-49DD-A172-238742092F2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9F39EEBA-E9DF-46A5-B156-CB3D6EBF23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2CF767F5-A2B9-4DD8-8AC1-CC88E69263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CA2C7463-43F4-45A8-A092-49A7D02688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EE4F7404-3338-4CE3-9084-8638192E96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E8C8B36C-705D-49CF-9020-EC3982BD76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9856B1A0-5D4B-4483-AE0C-3E53AEC33A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1DAA4643-A863-477E-A732-CD6A76DDC3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D80913A4-7758-4487-BA12-D75CA6BD454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5D5099B3-7842-4777-B263-9B6FBB6BFB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3983BF7B-C659-46ED-B197-E00D1A89A1C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3D1AFAD4-8986-47B8-B730-A23BEB9C0C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06D5F968-1ECD-4DCA-AC93-2691AA9682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9570DB4B-5BD3-4FFB-B097-FE1D5A138A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67C4F701-C031-46D1-9BF0-7524FED46D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A42934A4-4AC2-4CB7-94D0-9439F9581D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C5A7D7FA-C8BC-4DAF-B538-5C2441CCB3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71DEE16B-83D6-461E-A6B3-6E802E281F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28/05/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5/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8/0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8/0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8/0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8/0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5/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5/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5/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5/28/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1.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2.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4.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6.xml"/><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30.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oleObject" Target="../embeddings/oleObject30.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31.emf"/><Relationship Id="rId9" Type="http://schemas.openxmlformats.org/officeDocument/2006/relationships/chart" Target="../charts/chart40.xml"/></Relationships>
</file>

<file path=ppt/slides/_rels/slide2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2.xml"/><Relationship Id="rId5" Type="http://schemas.openxmlformats.org/officeDocument/2006/relationships/image" Target="../media/image31.emf"/><Relationship Id="rId10" Type="http://schemas.openxmlformats.org/officeDocument/2006/relationships/chart" Target="../charts/chart46.xml"/><Relationship Id="rId4" Type="http://schemas.openxmlformats.org/officeDocument/2006/relationships/oleObject" Target="../embeddings/oleObject30.bin"/><Relationship Id="rId9" Type="http://schemas.openxmlformats.org/officeDocument/2006/relationships/chart" Target="../charts/chart4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notesSlide" Target="../notesSlides/notesSlide10.xml"/><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notesSlide" Target="../notesSlides/notesSlide11.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5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5/2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3478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5/2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9838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5/2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7321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1203786059"/>
              </p:ext>
            </p:extLst>
          </p:nvPr>
        </p:nvGraphicFramePr>
        <p:xfrm>
          <a:off x="545319" y="1135374"/>
          <a:ext cx="8083425" cy="3191253"/>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245481">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45481">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45481">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45481">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45481">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45481">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45481">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45481">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45481">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45481">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245481">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245481">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245481">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lvl="0"/>
            <a:fld id="{2AF1C2FF-ACA0-49C7-A9AF-43632D3B35F3}" type="datetime1">
              <a:rPr lang="en-US" noProof="0" smtClean="0"/>
              <a:pPr lvl="0"/>
              <a:t>5/28/2025</a:t>
            </a:fld>
            <a:endParaRPr lang="en-US" noProof="0"/>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lvl="0"/>
            <a:endParaRPr lang="en-US" noProof="0"/>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815123151"/>
              </p:ext>
            </p:extLst>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546597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870992-F0EF-B48B-C512-CAB0263607E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0870992-F0EF-B48B-C512-CAB0263607E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ECE2348F-4A5E-4377-BC6E-44DA80E64CED}" type="datetime1">
              <a:rPr lang="en-US" noProof="0" smtClean="0"/>
              <a:pPr lvl="0"/>
              <a:t>5/28/2025</a:t>
            </a:fld>
            <a:endParaRPr lang="en-US" noProof="0"/>
          </a:p>
        </p:txBody>
      </p:sp>
      <p:sp>
        <p:nvSpPr>
          <p:cNvPr id="9" name="Footer Placeholder 8">
            <a:extLst>
              <a:ext uri="{FF2B5EF4-FFF2-40B4-BE49-F238E27FC236}">
                <a16:creationId xmlns:a16="http://schemas.microsoft.com/office/drawing/2014/main" id="{4DCD2A08-01E5-6C57-C2F4-7845774327A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E87B52AC-8018-1DEA-CAEA-DD623D44C3F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dirty="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dirty="0"/>
              <a:t>Feature</a:t>
            </a:r>
            <a:r>
              <a:rPr lang="en-AE" dirty="0"/>
              <a:t> </a:t>
            </a:r>
            <a:r>
              <a:rPr lang="en-US" dirty="0"/>
              <a:t>Share vs. Fair Share </a:t>
            </a:r>
            <a:r>
              <a:rPr lang="en-US"/>
              <a:t>| Retailer </a:t>
            </a:r>
            <a:r>
              <a:rPr lang="en-AE" dirty="0"/>
              <a:t>| </a:t>
            </a:r>
            <a:r>
              <a:rPr lang="en-US" dirty="0"/>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Feature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36849936"/>
              </p:ext>
            </p:extLst>
          </p:nvPr>
        </p:nvGraphicFramePr>
        <p:xfrm>
          <a:off x="537483" y="1137274"/>
          <a:ext cx="8096662" cy="35950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0521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1BD8230-08F6-6B04-600B-F5771ED4BCB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41BD8230-08F6-6B04-600B-F5771ED4BCB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4AF59A4A-DBA3-4B15-9761-DDCAB7C5C67C}" type="datetime1">
              <a:rPr lang="en-US" noProof="0" smtClean="0"/>
              <a:pPr lvl="0"/>
              <a:t>5/28/2025</a:t>
            </a:fld>
            <a:endParaRPr lang="en-US" noProof="0"/>
          </a:p>
        </p:txBody>
      </p:sp>
      <p:sp>
        <p:nvSpPr>
          <p:cNvPr id="9" name="Footer Placeholder 8">
            <a:extLst>
              <a:ext uri="{FF2B5EF4-FFF2-40B4-BE49-F238E27FC236}">
                <a16:creationId xmlns:a16="http://schemas.microsoft.com/office/drawing/2014/main" id="{577D2D85-84DF-541E-528E-A6A57B5D4C3C}"/>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C09D557A-3BE9-D9F6-C3E6-D81AC7A58AB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Display</a:t>
            </a:r>
            <a:r>
              <a:rPr lang="en-AE"/>
              <a:t> </a:t>
            </a:r>
            <a:r>
              <a:rPr lang="en-US"/>
              <a:t>Share vs. Fair Share | Retailer </a:t>
            </a:r>
            <a:r>
              <a:rPr lang="en-AE"/>
              <a:t>| </a:t>
            </a:r>
            <a:r>
              <a:rPr lang="en-US"/>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Display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22046809"/>
              </p:ext>
            </p:extLst>
          </p:nvPr>
        </p:nvGraphicFramePr>
        <p:xfrm>
          <a:off x="540726" y="1137272"/>
          <a:ext cx="8096662" cy="35968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0720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5/2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6837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5/2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4371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5/2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64579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5/2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1950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5/2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7345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5/2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4022499013"/>
              </p:ext>
            </p:extLst>
          </p:nvPr>
        </p:nvGraphicFramePr>
        <p:xfrm>
          <a:off x="541080" y="1133761"/>
          <a:ext cx="8094127" cy="3801000"/>
        </p:xfrm>
        <a:graphic>
          <a:graphicData uri="http://schemas.openxmlformats.org/drawingml/2006/table">
            <a:tbl>
              <a:tblPr firstRow="1" bandRow="1">
                <a:tableStyleId>{5C22544A-7EE6-4342-B048-85BDC9FD1C3A}</a:tableStyleId>
              </a:tblPr>
              <a:tblGrid>
                <a:gridCol w="899347">
                  <a:extLst>
                    <a:ext uri="{9D8B030D-6E8A-4147-A177-3AD203B41FA5}">
                      <a16:colId xmlns:a16="http://schemas.microsoft.com/office/drawing/2014/main" val="2374043349"/>
                    </a:ext>
                  </a:extLst>
                </a:gridCol>
                <a:gridCol w="719478">
                  <a:extLst>
                    <a:ext uri="{9D8B030D-6E8A-4147-A177-3AD203B41FA5}">
                      <a16:colId xmlns:a16="http://schemas.microsoft.com/office/drawing/2014/main" val="8673104"/>
                    </a:ext>
                  </a:extLst>
                </a:gridCol>
                <a:gridCol w="719478">
                  <a:extLst>
                    <a:ext uri="{9D8B030D-6E8A-4147-A177-3AD203B41FA5}">
                      <a16:colId xmlns:a16="http://schemas.microsoft.com/office/drawing/2014/main" val="1028273140"/>
                    </a:ext>
                  </a:extLst>
                </a:gridCol>
                <a:gridCol w="719478">
                  <a:extLst>
                    <a:ext uri="{9D8B030D-6E8A-4147-A177-3AD203B41FA5}">
                      <a16:colId xmlns:a16="http://schemas.microsoft.com/office/drawing/2014/main" val="2342841255"/>
                    </a:ext>
                  </a:extLst>
                </a:gridCol>
                <a:gridCol w="719478">
                  <a:extLst>
                    <a:ext uri="{9D8B030D-6E8A-4147-A177-3AD203B41FA5}">
                      <a16:colId xmlns:a16="http://schemas.microsoft.com/office/drawing/2014/main" val="1336055313"/>
                    </a:ext>
                  </a:extLst>
                </a:gridCol>
                <a:gridCol w="719478">
                  <a:extLst>
                    <a:ext uri="{9D8B030D-6E8A-4147-A177-3AD203B41FA5}">
                      <a16:colId xmlns:a16="http://schemas.microsoft.com/office/drawing/2014/main" val="481471067"/>
                    </a:ext>
                  </a:extLst>
                </a:gridCol>
                <a:gridCol w="719478">
                  <a:extLst>
                    <a:ext uri="{9D8B030D-6E8A-4147-A177-3AD203B41FA5}">
                      <a16:colId xmlns:a16="http://schemas.microsoft.com/office/drawing/2014/main" val="3455965782"/>
                    </a:ext>
                  </a:extLst>
                </a:gridCol>
                <a:gridCol w="719478">
                  <a:extLst>
                    <a:ext uri="{9D8B030D-6E8A-4147-A177-3AD203B41FA5}">
                      <a16:colId xmlns:a16="http://schemas.microsoft.com/office/drawing/2014/main" val="2973841480"/>
                    </a:ext>
                  </a:extLst>
                </a:gridCol>
                <a:gridCol w="719478">
                  <a:extLst>
                    <a:ext uri="{9D8B030D-6E8A-4147-A177-3AD203B41FA5}">
                      <a16:colId xmlns:a16="http://schemas.microsoft.com/office/drawing/2014/main" val="848928385"/>
                    </a:ext>
                  </a:extLst>
                </a:gridCol>
                <a:gridCol w="719478">
                  <a:extLst>
                    <a:ext uri="{9D8B030D-6E8A-4147-A177-3AD203B41FA5}">
                      <a16:colId xmlns:a16="http://schemas.microsoft.com/office/drawing/2014/main" val="1290706330"/>
                    </a:ext>
                  </a:extLst>
                </a:gridCol>
                <a:gridCol w="719478">
                  <a:extLst>
                    <a:ext uri="{9D8B030D-6E8A-4147-A177-3AD203B41FA5}">
                      <a16:colId xmlns:a16="http://schemas.microsoft.com/office/drawing/2014/main" val="1031048901"/>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735736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5/2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07607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2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764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2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7934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28/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fontAlgn="b"/>
                      <a:r>
                        <a:rPr lang="en-US" sz="800" b="0" kern="1200" dirty="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446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5202D-A6C3-32ED-9277-F1702C91ADE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9A04BAD-47BC-2298-1C16-B4C36E5DCA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7EF4ADA-B7D7-369C-A15C-4B55E08410F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28/2025</a:t>
            </a:fld>
            <a:endParaRPr lang="en-US" noProof="0"/>
          </a:p>
        </p:txBody>
      </p:sp>
      <p:sp>
        <p:nvSpPr>
          <p:cNvPr id="4" name="Footer" hidden="1">
            <a:extLst>
              <a:ext uri="{FF2B5EF4-FFF2-40B4-BE49-F238E27FC236}">
                <a16:creationId xmlns:a16="http://schemas.microsoft.com/office/drawing/2014/main" id="{678C2E9D-5AF4-53D6-B317-3A070178575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8E811E2-3B37-F4EB-21D5-6CED2A47B20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15" name="Data Source">
            <a:extLst>
              <a:ext uri="{FF2B5EF4-FFF2-40B4-BE49-F238E27FC236}">
                <a16:creationId xmlns:a16="http://schemas.microsoft.com/office/drawing/2014/main" id="{89910504-1DAA-5B13-AAC8-EE6F2AE94A85}"/>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8DE4D359-B6FF-DFAA-C099-A1C1B7AAA676}"/>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6C45166-D38E-1C96-444C-127C8300032B}"/>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81483C84-291D-696C-5801-C6D78552189A}"/>
              </a:ext>
            </a:extLst>
          </p:cNvPr>
          <p:cNvGraphicFramePr>
            <a:graphicFrameLocks noGrp="1"/>
          </p:cNvGraphicFramePr>
          <p:nvPr>
            <p:extLst>
              <p:ext uri="{D42A27DB-BD31-4B8C-83A1-F6EECF244321}">
                <p14:modId xmlns:p14="http://schemas.microsoft.com/office/powerpoint/2010/main" val="306748637"/>
              </p:ext>
            </p:extLst>
          </p:nvPr>
        </p:nvGraphicFramePr>
        <p:xfrm>
          <a:off x="543331" y="1131888"/>
          <a:ext cx="303523" cy="3449528"/>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862382">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862382">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862382">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862382">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C57BF963-75C8-3509-DF34-736E47CD2177}"/>
              </a:ext>
            </a:extLst>
          </p:cNvPr>
          <p:cNvGraphicFramePr>
            <a:graphicFrameLocks/>
          </p:cNvGraphicFramePr>
          <p:nvPr>
            <p:extLst>
              <p:ext uri="{D42A27DB-BD31-4B8C-83A1-F6EECF244321}">
                <p14:modId xmlns:p14="http://schemas.microsoft.com/office/powerpoint/2010/main" val="1633204920"/>
              </p:ext>
            </p:extLst>
          </p:nvPr>
        </p:nvGraphicFramePr>
        <p:xfrm>
          <a:off x="905321" y="1131888"/>
          <a:ext cx="7740000" cy="8297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2">
            <a:extLst>
              <a:ext uri="{FF2B5EF4-FFF2-40B4-BE49-F238E27FC236}">
                <a16:creationId xmlns:a16="http://schemas.microsoft.com/office/drawing/2014/main" id="{EF638191-9AD3-F53C-53D9-07617BF27424}"/>
              </a:ext>
            </a:extLst>
          </p:cNvPr>
          <p:cNvGraphicFramePr>
            <a:graphicFrameLocks/>
          </p:cNvGraphicFramePr>
          <p:nvPr>
            <p:extLst>
              <p:ext uri="{D42A27DB-BD31-4B8C-83A1-F6EECF244321}">
                <p14:modId xmlns:p14="http://schemas.microsoft.com/office/powerpoint/2010/main" val="974424976"/>
              </p:ext>
            </p:extLst>
          </p:nvPr>
        </p:nvGraphicFramePr>
        <p:xfrm>
          <a:off x="899999" y="1966133"/>
          <a:ext cx="7740000" cy="8815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2">
            <a:extLst>
              <a:ext uri="{FF2B5EF4-FFF2-40B4-BE49-F238E27FC236}">
                <a16:creationId xmlns:a16="http://schemas.microsoft.com/office/drawing/2014/main" id="{12FB3567-7AEE-DDCE-0F01-65DD58CA4903}"/>
              </a:ext>
            </a:extLst>
          </p:cNvPr>
          <p:cNvGraphicFramePr>
            <a:graphicFrameLocks/>
          </p:cNvGraphicFramePr>
          <p:nvPr>
            <p:extLst>
              <p:ext uri="{D42A27DB-BD31-4B8C-83A1-F6EECF244321}">
                <p14:modId xmlns:p14="http://schemas.microsoft.com/office/powerpoint/2010/main" val="3691157756"/>
              </p:ext>
            </p:extLst>
          </p:nvPr>
        </p:nvGraphicFramePr>
        <p:xfrm>
          <a:off x="907981" y="2852145"/>
          <a:ext cx="7740000" cy="838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2">
            <a:extLst>
              <a:ext uri="{FF2B5EF4-FFF2-40B4-BE49-F238E27FC236}">
                <a16:creationId xmlns:a16="http://schemas.microsoft.com/office/drawing/2014/main" id="{64B9AD7D-6434-9BA5-BAEF-8937575651AC}"/>
              </a:ext>
            </a:extLst>
          </p:cNvPr>
          <p:cNvGraphicFramePr>
            <a:graphicFrameLocks/>
          </p:cNvGraphicFramePr>
          <p:nvPr>
            <p:extLst>
              <p:ext uri="{D42A27DB-BD31-4B8C-83A1-F6EECF244321}">
                <p14:modId xmlns:p14="http://schemas.microsoft.com/office/powerpoint/2010/main" val="1504638670"/>
              </p:ext>
            </p:extLst>
          </p:nvPr>
        </p:nvGraphicFramePr>
        <p:xfrm>
          <a:off x="902660" y="3695102"/>
          <a:ext cx="7740000" cy="103765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4663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28/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fontAlgn="b"/>
                      <a:r>
                        <a:rPr lang="en-US" sz="800" b="0" kern="1200" dirty="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44918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28/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r>
              <a:rPr lang="en-US" dirty="0"/>
              <a:t>Seasonality Index | By Sector | National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fontAlgn="b"/>
                      <a:r>
                        <a:rPr lang="en-US" sz="800" b="0" kern="1200">
                          <a:solidFill>
                            <a:srgbClr val="575555"/>
                          </a:solidFill>
                          <a:latin typeface="Nexa Bold"/>
                          <a:ea typeface="+mn-ea"/>
                          <a:cs typeface="+mn-cs"/>
                        </a:rPr>
                        <a:t>Beer</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fontAlgn="b"/>
                      <a:r>
                        <a:rPr lang="en-US" sz="800" b="0" kern="120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fontAlgn="b"/>
                      <a:r>
                        <a:rPr lang="en-US" sz="800" b="0" kern="120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fontAlgn="b"/>
                      <a:r>
                        <a:rPr lang="en-US" sz="800" b="0" kern="120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21989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5/2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1647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2466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5/28/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99852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649471997"/>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777549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8508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5/2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99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5/2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48136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5/2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3722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5/2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806592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5/2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93699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5/2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1259495604"/>
              </p:ext>
            </p:extLst>
          </p:nvPr>
        </p:nvGraphicFramePr>
        <p:xfrm>
          <a:off x="503237" y="1131888"/>
          <a:ext cx="8146796" cy="359359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8664">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493">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2149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149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149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1493">
                <a:tc>
                  <a:txBody>
                    <a:bodyPr/>
                    <a:lstStyle/>
                    <a:p>
                      <a:pPr algn="ctr" fontAlgn="b"/>
                      <a:r>
                        <a:rPr lang="en-US" sz="800" b="0" i="0" dirty="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32149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32149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r h="321493">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821558667"/>
                  </a:ext>
                </a:extLst>
              </a:tr>
              <a:tr h="32149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13805407"/>
                  </a:ext>
                </a:extLst>
              </a:tr>
              <a:tr h="32149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9030384"/>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663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7551193-7C66-436D-8ABA-4B99F0776D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3</TotalTime>
  <Words>3847</Words>
  <Application>Microsoft Office PowerPoint</Application>
  <PresentationFormat>On-screen Show (16:9)</PresentationFormat>
  <Paragraphs>1422</Paragraphs>
  <Slides>30</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3"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evolution (Replace With SO WHAT)</vt:lpstr>
      <vt:lpstr>VSOD Summary by Sector (Replace With SO WHAT)</vt:lpstr>
      <vt:lpstr>Value uplift by retailer by brand (Replace With SO WHAT)</vt:lpstr>
      <vt:lpstr>Volume Uplift vs discount depth (Replace With SO WHAT)</vt:lpstr>
      <vt:lpstr>Value Uplift vs Promo Efficiency Quadrant (Replace With SO WHAT)</vt:lpstr>
      <vt:lpstr>Top 20 promotions (Replace With SO WHAT)</vt:lpstr>
      <vt:lpstr>Top 20 promotions CLIENT ONLY (Replace With SO WHAT)</vt:lpstr>
      <vt:lpstr>Bottom 20 promotions CLIENT ONLY (Replace With SO WHAT)</vt:lpstr>
      <vt:lpstr>Volume Sold on Deal (Replace With SO WHAT)</vt:lpstr>
      <vt:lpstr>Promo share vs Value Share (Replace With SO WHAT)</vt:lpstr>
      <vt:lpstr>Promo Sales by total size (Replace With SO WHAT)</vt:lpstr>
      <vt:lpstr>Promo Sales by promo type (Replace With SO WHAT)</vt:lpstr>
      <vt:lpstr>Feature Share vs. Fair Share (Replace With SO WHAT)</vt:lpstr>
      <vt:lpstr>Display Share vs. Fair Share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56</cp:revision>
  <dcterms:created xsi:type="dcterms:W3CDTF">2024-07-08T12:46:55Z</dcterms:created>
  <dcterms:modified xsi:type="dcterms:W3CDTF">2025-05-28T10:4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